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60018"/>
    <a:srgbClr val="8D8D8D"/>
    <a:srgbClr val="5A5A5A"/>
    <a:srgbClr val="444444"/>
    <a:srgbClr val="F6F6F6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Weigel Stefan (PAR-EPS)" userId="fd3b2067-2981-4ad8-bf3a-d2e1004e4fa8" providerId="ADAL" clId="{42CDFD8D-70EE-43A8-8368-89F83C2C8598}"/>
    <pc:docChg chg="custSel modSld">
      <pc:chgData name="Weigel Stefan (PAR-EPS)" userId="fd3b2067-2981-4ad8-bf3a-d2e1004e4fa8" providerId="ADAL" clId="{42CDFD8D-70EE-43A8-8368-89F83C2C8598}" dt="2024-02-13T15:34:02.900" v="64" actId="207"/>
      <pc:docMkLst>
        <pc:docMk/>
      </pc:docMkLst>
      <pc:sldChg chg="modSp mod">
        <pc:chgData name="Weigel Stefan (PAR-EPS)" userId="fd3b2067-2981-4ad8-bf3a-d2e1004e4fa8" providerId="ADAL" clId="{42CDFD8D-70EE-43A8-8368-89F83C2C8598}" dt="2024-02-13T15:34:02.900" v="64" actId="207"/>
        <pc:sldMkLst>
          <pc:docMk/>
          <pc:sldMk cId="3808035539" sldId="270"/>
        </pc:sldMkLst>
        <pc:spChg chg="mod">
          <ac:chgData name="Weigel Stefan (PAR-EPS)" userId="fd3b2067-2981-4ad8-bf3a-d2e1004e4fa8" providerId="ADAL" clId="{42CDFD8D-70EE-43A8-8368-89F83C2C8598}" dt="2024-02-13T15:23:01.118" v="14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2CDFD8D-70EE-43A8-8368-89F83C2C8598}" dt="2024-02-13T15:25:48.929" v="59" actId="20577"/>
          <ac:spMkLst>
            <pc:docMk/>
            <pc:sldMk cId="3808035539" sldId="270"/>
            <ac:spMk id="11" creationId="{C872468D-648C-44F5-8DF7-75B41720E3E9}"/>
          </ac:spMkLst>
        </pc:spChg>
        <pc:spChg chg="mod">
          <ac:chgData name="Weigel Stefan (PAR-EPS)" userId="fd3b2067-2981-4ad8-bf3a-d2e1004e4fa8" providerId="ADAL" clId="{42CDFD8D-70EE-43A8-8368-89F83C2C8598}" dt="2024-02-13T15:22:35.077" v="11" actId="20577"/>
          <ac:spMkLst>
            <pc:docMk/>
            <pc:sldMk cId="3808035539" sldId="270"/>
            <ac:spMk id="12" creationId="{5951AA1F-1F78-4199-A377-9885C86C21AF}"/>
          </ac:spMkLst>
        </pc:spChg>
        <pc:graphicFrameChg chg="mod">
          <ac:chgData name="Weigel Stefan (PAR-EPS)" userId="fd3b2067-2981-4ad8-bf3a-d2e1004e4fa8" providerId="ADAL" clId="{42CDFD8D-70EE-43A8-8368-89F83C2C8598}" dt="2024-02-13T15:34:02.900" v="64" actId="207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Weigel Stefan (PAR-EPS)" userId="fd3b2067-2981-4ad8-bf3a-d2e1004e4fa8" providerId="ADAL" clId="{2C0C9D6E-78AD-4D46-859F-B54131D02328}"/>
    <pc:docChg chg="modSld">
      <pc:chgData name="Weigel Stefan (PAR-EPS)" userId="fd3b2067-2981-4ad8-bf3a-d2e1004e4fa8" providerId="ADAL" clId="{2C0C9D6E-78AD-4D46-859F-B54131D02328}" dt="2024-02-28T14:00:43.598" v="3" actId="27918"/>
      <pc:docMkLst>
        <pc:docMk/>
      </pc:docMkLst>
      <pc:sldChg chg="mod">
        <pc:chgData name="Weigel Stefan (PAR-EPS)" userId="fd3b2067-2981-4ad8-bf3a-d2e1004e4fa8" providerId="ADAL" clId="{2C0C9D6E-78AD-4D46-859F-B54131D02328}" dt="2024-02-28T14:00:43.598" v="3" actId="27918"/>
        <pc:sldMkLst>
          <pc:docMk/>
          <pc:sldMk cId="3808035539" sldId="270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54EC38D1-D1ED-4413-AF89-B689DB72A17F}"/>
    <pc:docChg chg="modSld">
      <pc:chgData name="Weigel Stefan (PAR-ES)" userId="fd3b2067-2981-4ad8-bf3a-d2e1004e4fa8" providerId="ADAL" clId="{54EC38D1-D1ED-4413-AF89-B689DB72A17F}" dt="2023-02-01T07:48:01.362" v="46" actId="207"/>
      <pc:docMkLst>
        <pc:docMk/>
      </pc:docMkLst>
      <pc:sldChg chg="modSp mod">
        <pc:chgData name="Weigel Stefan (PAR-ES)" userId="fd3b2067-2981-4ad8-bf3a-d2e1004e4fa8" providerId="ADAL" clId="{54EC38D1-D1ED-4413-AF89-B689DB72A17F}" dt="2023-02-01T07:48:01.362" v="46" actId="207"/>
        <pc:sldMkLst>
          <pc:docMk/>
          <pc:sldMk cId="3808035539" sldId="270"/>
        </pc:sldMkLst>
        <pc:spChg chg="mod">
          <ac:chgData name="Weigel Stefan (PAR-ES)" userId="fd3b2067-2981-4ad8-bf3a-d2e1004e4fa8" providerId="ADAL" clId="{54EC38D1-D1ED-4413-AF89-B689DB72A17F}" dt="2023-02-01T07:22:07.615" v="18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4EC38D1-D1ED-4413-AF89-B689DB72A17F}" dt="2023-02-01T07:22:28.047" v="35" actId="20577"/>
          <ac:spMkLst>
            <pc:docMk/>
            <pc:sldMk cId="3808035539" sldId="270"/>
            <ac:spMk id="12" creationId="{5951AA1F-1F78-4199-A377-9885C86C21AF}"/>
          </ac:spMkLst>
        </pc:spChg>
        <pc:graphicFrameChg chg="mod">
          <ac:chgData name="Weigel Stefan (PAR-ES)" userId="fd3b2067-2981-4ad8-bf3a-d2e1004e4fa8" providerId="ADAL" clId="{54EC38D1-D1ED-4413-AF89-B689DB72A17F}" dt="2023-02-01T07:48:01.362" v="46" actId="207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BF7BC7E7-8980-4DA8-AC52-BB8231A3306E}"/>
    <pc:docChg chg="modSld">
      <pc:chgData name="Weigel Stefan (PAR-EPS)" userId="fd3b2067-2981-4ad8-bf3a-d2e1004e4fa8" providerId="ADAL" clId="{BF7BC7E7-8980-4DA8-AC52-BB8231A3306E}" dt="2024-02-12T18:09:38.262" v="72" actId="27918"/>
      <pc:docMkLst>
        <pc:docMk/>
      </pc:docMkLst>
      <pc:sldChg chg="modSp mod">
        <pc:chgData name="Weigel Stefan (PAR-EPS)" userId="fd3b2067-2981-4ad8-bf3a-d2e1004e4fa8" providerId="ADAL" clId="{BF7BC7E7-8980-4DA8-AC52-BB8231A3306E}" dt="2024-02-12T18:09:38.262" v="72" actId="27918"/>
        <pc:sldMkLst>
          <pc:docMk/>
          <pc:sldMk cId="3808035539" sldId="270"/>
        </pc:sldMkLst>
        <pc:spChg chg="mod">
          <ac:chgData name="Weigel Stefan (PAR-EPS)" userId="fd3b2067-2981-4ad8-bf3a-d2e1004e4fa8" providerId="ADAL" clId="{BF7BC7E7-8980-4DA8-AC52-BB8231A3306E}" dt="2024-02-12T18:08:36.657" v="44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BF7BC7E7-8980-4DA8-AC52-BB8231A3306E}" dt="2024-02-12T18:09:04.692" v="68" actId="20577"/>
          <ac:spMkLst>
            <pc:docMk/>
            <pc:sldMk cId="3808035539" sldId="270"/>
            <ac:spMk id="12" creationId="{5951AA1F-1F78-4199-A377-9885C86C21AF}"/>
          </ac:spMkLst>
        </pc:sp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41496303567492"/>
          <c:y val="3.711401967995117E-2"/>
          <c:w val="0.76707882778699366"/>
          <c:h val="0.8821228021077828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I$2</c:f>
              <c:strCache>
                <c:ptCount val="1"/>
                <c:pt idx="0">
                  <c:v>Wert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4ED7-4664-9332-5D1E4B5B494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ED7-4664-9332-5D1E4B5B494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ED7-4664-9332-5D1E4B5B494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ED7-4664-9332-5D1E4B5B494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ED7-4664-9332-5D1E4B5B494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ED7-4664-9332-5D1E4B5B494A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ED7-4664-9332-5D1E4B5B494A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ED7-4664-9332-5D1E4B5B494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ED7-4664-9332-5D1E4B5B494A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ED7-4664-9332-5D1E4B5B494A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ED7-4664-9332-5D1E4B5B494A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9D1-4637-85BC-0EAF17287C5A}"/>
              </c:ext>
            </c:extLst>
          </c:dPt>
          <c:dPt>
            <c:idx val="14"/>
            <c:invertIfNegative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dPt>
            <c:idx val="15"/>
            <c:invertIfNegative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1C-8B74-4E16-8ABD-94493A233CF0}"/>
              </c:ext>
            </c:extLst>
          </c:dPt>
          <c:cat>
            <c:strRef>
              <c:f>data!$H$3:$H$17</c:f>
              <c:strCache>
                <c:ptCount val="15"/>
                <c:pt idx="0">
                  <c:v>LG (LT)</c:v>
                </c:pt>
                <c:pt idx="1">
                  <c:v>SZDC (CZ)</c:v>
                </c:pt>
                <c:pt idx="2">
                  <c:v>Network Rail (GB)</c:v>
                </c:pt>
                <c:pt idx="3">
                  <c:v>FTA (FI)</c:v>
                </c:pt>
                <c:pt idx="4">
                  <c:v>SNCF Réseau (FR)</c:v>
                </c:pt>
                <c:pt idx="5">
                  <c:v>DB AG (DE)</c:v>
                </c:pt>
                <c:pt idx="6">
                  <c:v>ADIF (ES)</c:v>
                </c:pt>
                <c:pt idx="7">
                  <c:v>PKP (PL)</c:v>
                </c:pt>
                <c:pt idx="8">
                  <c:v>FS (IT)</c:v>
                </c:pt>
                <c:pt idx="9">
                  <c:v>ProRail (NL)</c:v>
                </c:pt>
                <c:pt idx="10">
                  <c:v>ÖBB (AT)</c:v>
                </c:pt>
                <c:pt idx="11">
                  <c:v>Trafikverket (SE)</c:v>
                </c:pt>
                <c:pt idx="12">
                  <c:v>Infrabel (BE)</c:v>
                </c:pt>
                <c:pt idx="13">
                  <c:v>CFL (LU)</c:v>
                </c:pt>
                <c:pt idx="14">
                  <c:v>SBB (CH)</c:v>
                </c:pt>
              </c:strCache>
            </c:strRef>
          </c:cat>
          <c:val>
            <c:numRef>
              <c:f>data!$I$3:$I$17</c:f>
              <c:numCache>
                <c:formatCode>0.0</c:formatCode>
                <c:ptCount val="15"/>
                <c:pt idx="0">
                  <c:v>7.9207920792079198</c:v>
                </c:pt>
                <c:pt idx="1">
                  <c:v>34.366648850881901</c:v>
                </c:pt>
                <c:pt idx="2">
                  <c:v>38.405027854834501</c:v>
                </c:pt>
                <c:pt idx="3">
                  <c:v>57.9249746535992</c:v>
                </c:pt>
                <c:pt idx="4">
                  <c:v>59.8352137767221</c:v>
                </c:pt>
                <c:pt idx="5">
                  <c:v>61.715668698458202</c:v>
                </c:pt>
                <c:pt idx="6">
                  <c:v>64.690265486725707</c:v>
                </c:pt>
                <c:pt idx="7">
                  <c:v>64.749396944518907</c:v>
                </c:pt>
                <c:pt idx="8">
                  <c:v>70.695225490252696</c:v>
                </c:pt>
                <c:pt idx="9">
                  <c:v>74.482078263728994</c:v>
                </c:pt>
                <c:pt idx="10">
                  <c:v>74.788354325831094</c:v>
                </c:pt>
                <c:pt idx="11">
                  <c:v>83.141210374639797</c:v>
                </c:pt>
                <c:pt idx="12">
                  <c:v>88.615639679469496</c:v>
                </c:pt>
                <c:pt idx="13">
                  <c:v>96.678966789667896</c:v>
                </c:pt>
                <c:pt idx="14">
                  <c:v>99.9780008302834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00"/>
        </c:scaling>
        <c:delete val="0"/>
        <c:axPos val="b"/>
        <c:majorGridlines/>
        <c:numFmt formatCode="0%" sourceLinked="0"/>
        <c:majorTickMark val="out"/>
        <c:minorTickMark val="none"/>
        <c:tickLblPos val="nextTo"/>
        <c:spPr>
          <a:ln>
            <a:noFill/>
          </a:ln>
        </c:spPr>
        <c:crossAx val="133638400"/>
        <c:crosses val="autoZero"/>
        <c:crossBetween val="between"/>
        <c:majorUnit val="25"/>
        <c:dispUnits>
          <c:builtInUnit val="hundreds"/>
        </c:dispUnits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EE3096D-63F5-415F-B8E4-765C23175D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EE3096D-63F5-415F-B8E4-765C23175D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8AAF2B3-9DD3-4BE3-8383-7A2141055A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CH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ctrification of networks in Europe in 2022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433390488"/>
              </p:ext>
            </p:extLst>
          </p:nvPr>
        </p:nvGraphicFramePr>
        <p:xfrm>
          <a:off x="502919" y="1544169"/>
          <a:ext cx="10201593" cy="42664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C872468D-648C-44F5-8DF7-75B41720E3E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hare of electrified lines as a proportion of an infrastructure manager’s total lines</a:t>
            </a:r>
            <a:endParaRPr kumimoji="0" lang="de-CH" sz="1400" b="0" i="0" u="none" strike="noStrike" kern="1200" cap="none" spc="30" normalizeH="0" baseline="0" noProof="0" dirty="0">
              <a:ln>
                <a:noFill/>
              </a:ln>
              <a:solidFill>
                <a:srgbClr val="EB0000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951AA1F-1F78-4199-A377-9885C86C21AF}"/>
              </a:ext>
            </a:extLst>
          </p:cNvPr>
          <p:cNvSpPr txBox="1"/>
          <p:nvPr/>
        </p:nvSpPr>
        <p:spPr>
          <a:xfrm rot="16200000">
            <a:off x="9605908" y="3954664"/>
            <a:ext cx="394767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UIC, </a:t>
            </a:r>
            <a:r>
              <a:rPr kumimoji="0" lang="fr-FR" sz="8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Network Rail: 2021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529F12DD-D362-4327-A51F-7014752CA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08035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smfMoRi26Np7Rn4kh2w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f5c8543-cf23-4718-a3b8-32b0a91d511a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A668EB5-C84D-40F5-AA83-87CE0E7ED80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1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lectrification of networks in Europe in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ctrification of networks in Europe in 2022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4:2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